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70" r:id="rId4"/>
  </p:sldMasterIdLst>
  <p:notesMasterIdLst>
    <p:notesMasterId r:id="rId6"/>
  </p:notesMasterIdLst>
  <p:handoutMasterIdLst>
    <p:handoutMasterId r:id="rId7"/>
  </p:handoutMasterIdLst>
  <p:sldIdLst>
    <p:sldId id="1554" r:id="rId5"/>
  </p:sldIdLst>
  <p:sldSz cx="9144000" cy="6858000" type="screen4x3"/>
  <p:notesSz cx="6797675" cy="9928225"/>
  <p:custDataLst>
    <p:tags r:id="rId8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DEDE"/>
    <a:srgbClr val="EA222D"/>
    <a:srgbClr val="FF4040"/>
    <a:srgbClr val="CEEAF0"/>
    <a:srgbClr val="FF0000"/>
    <a:srgbClr val="969696"/>
    <a:srgbClr val="F7F7F7"/>
    <a:srgbClr val="06B521"/>
    <a:srgbClr val="F2F2F2"/>
    <a:srgbClr val="8EBF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521" autoAdjust="0"/>
    <p:restoredTop sz="98405" autoAdjust="0"/>
  </p:normalViewPr>
  <p:slideViewPr>
    <p:cSldViewPr>
      <p:cViewPr varScale="1">
        <p:scale>
          <a:sx n="92" d="100"/>
          <a:sy n="92" d="100"/>
        </p:scale>
        <p:origin x="-1926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8093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337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3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9" y="3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CC6CA672-7672-400B-80A4-B63EDC7F682E}" type="datetimeFigureOut">
              <a:rPr lang="ru-RU"/>
              <a:pPr>
                <a:defRPr/>
              </a:pPr>
              <a:t>13.03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5" y="9430095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9" y="9430095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CD351EE7-ED70-4552-AA4E-708B13CB668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62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3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9" y="3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62361068-ED19-47FD-9CE4-73F57CA90C2A}" type="datetimeFigureOut">
              <a:rPr lang="ru-RU"/>
              <a:pPr>
                <a:defRPr/>
              </a:pPr>
              <a:t>13.03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85825" y="869950"/>
            <a:ext cx="4962525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30095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9" y="9430095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1AEDABB1-5DD9-4417-B71C-4C3778FA7B9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7229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2092989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1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ctrTitle"/>
          </p:nvPr>
        </p:nvSpPr>
        <p:spPr>
          <a:xfrm>
            <a:off x="448055" y="1844824"/>
            <a:ext cx="8307692" cy="1224000"/>
          </a:xfrm>
          <a:prstGeom prst="rect">
            <a:avLst/>
          </a:prstGeom>
        </p:spPr>
        <p:txBody>
          <a:bodyPr anchor="ctr"/>
          <a:lstStyle>
            <a:lvl1pPr algn="l">
              <a:defRPr sz="3200" b="1" baseline="0">
                <a:solidFill>
                  <a:srgbClr val="FF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48055" y="3092608"/>
            <a:ext cx="8307692" cy="396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57B7DC-5404-411A-85DB-6AD4BAEA9E8A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57B7DC-5404-411A-85DB-6AD4BAEA9E8A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Заголовок 11"/>
          <p:cNvSpPr>
            <a:spLocks noGrp="1"/>
          </p:cNvSpPr>
          <p:nvPr>
            <p:ph type="title"/>
          </p:nvPr>
        </p:nvSpPr>
        <p:spPr>
          <a:xfrm>
            <a:off x="2445670" y="288001"/>
            <a:ext cx="6374331" cy="755999"/>
          </a:xfrm>
          <a:prstGeom prst="rect">
            <a:avLst/>
          </a:prstGeom>
        </p:spPr>
        <p:txBody>
          <a:bodyPr anchor="ctr"/>
          <a:lstStyle>
            <a:lvl1pPr algn="r">
              <a:defRPr sz="22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1039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aseline="0" smtClean="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30A300D-AA65-4E14-9EAD-452D5DCC8E1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404664"/>
            <a:ext cx="1368152" cy="30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079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1000" b="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93979194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20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>
          <a:xfrm>
            <a:off x="7010400" y="649287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4657B7DC-5404-411A-85DB-6AD4BAEA9E8A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4128" r:id="rId2"/>
    <p:sldLayoutId id="214748413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fontAlgn="base">
        <a:spcBef>
          <a:spcPct val="0"/>
        </a:spcBef>
        <a:spcAft>
          <a:spcPct val="0"/>
        </a:spcAft>
        <a:defRPr lang="ru-RU" sz="2200" kern="1200" dirty="0">
          <a:solidFill>
            <a:srgbClr val="A80000"/>
          </a:solidFill>
          <a:latin typeface="Arial" pitchFamily="34" charset="0"/>
          <a:ea typeface="+mj-ea"/>
          <a:cs typeface="Arial" pitchFamily="34" charset="0"/>
        </a:defRPr>
      </a:lvl1pPr>
      <a:lvl2pPr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hyperlink" Target="mailto:VRyzhov@mtsbank.ru" TargetMode="External"/><Relationship Id="rId4" Type="http://schemas.openxmlformats.org/officeDocument/2006/relationships/hyperlink" Target="mailto:vklimov@mtsbank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Скругленный прямоугольник 16"/>
          <p:cNvSpPr/>
          <p:nvPr/>
        </p:nvSpPr>
        <p:spPr>
          <a:xfrm>
            <a:off x="468314" y="4992976"/>
            <a:ext cx="8135936" cy="907706"/>
          </a:xfrm>
          <a:prstGeom prst="roundRect">
            <a:avLst>
              <a:gd name="adj" fmla="val 9377"/>
            </a:avLst>
          </a:prstGeom>
          <a:noFill/>
          <a:ln w="12700">
            <a:solidFill>
              <a:srgbClr val="DEDE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344793" y="1127962"/>
            <a:ext cx="814444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dirty="0">
                <a:solidFill>
                  <a:srgbClr val="262626"/>
                </a:solidFill>
                <a:latin typeface="Futura Medium" charset="0"/>
                <a:ea typeface="Futura Medium" charset="0"/>
                <a:cs typeface="Futura Medium" charset="0"/>
              </a:rPr>
              <a:t>Побеждайте с </a:t>
            </a:r>
            <a:r>
              <a:rPr lang="ru-RU" sz="3000" b="1" dirty="0" smtClean="0">
                <a:solidFill>
                  <a:srgbClr val="262626"/>
                </a:solidFill>
                <a:latin typeface="Futura Medium" charset="0"/>
                <a:ea typeface="Futura Medium" charset="0"/>
                <a:cs typeface="Futura Medium" charset="0"/>
              </a:rPr>
              <a:t>факторингом </a:t>
            </a:r>
            <a:br>
              <a:rPr lang="ru-RU" sz="3000" b="1" dirty="0" smtClean="0">
                <a:solidFill>
                  <a:srgbClr val="262626"/>
                </a:solidFill>
                <a:latin typeface="Futura Medium" charset="0"/>
                <a:ea typeface="Futura Medium" charset="0"/>
                <a:cs typeface="Futura Medium" charset="0"/>
              </a:rPr>
            </a:br>
            <a:r>
              <a:rPr lang="ru-RU" sz="3000" b="1" dirty="0" smtClean="0">
                <a:solidFill>
                  <a:srgbClr val="262626"/>
                </a:solidFill>
                <a:latin typeface="Futura Medium" charset="0"/>
                <a:ea typeface="Futura Medium" charset="0"/>
                <a:cs typeface="Futura Medium" charset="0"/>
              </a:rPr>
              <a:t>от </a:t>
            </a:r>
            <a:r>
              <a:rPr lang="ru-RU" sz="3000" b="1" dirty="0">
                <a:solidFill>
                  <a:srgbClr val="262626"/>
                </a:solidFill>
                <a:latin typeface="Futura Medium" charset="0"/>
                <a:ea typeface="Futura Medium" charset="0"/>
                <a:cs typeface="Futura Medium" charset="0"/>
              </a:rPr>
              <a:t>МТС </a:t>
            </a:r>
            <a:r>
              <a:rPr lang="ru-RU" sz="3000" b="1" dirty="0" smtClean="0">
                <a:solidFill>
                  <a:srgbClr val="262626"/>
                </a:solidFill>
                <a:latin typeface="Futura Medium" charset="0"/>
                <a:ea typeface="Futura Medium" charset="0"/>
                <a:cs typeface="Futura Medium" charset="0"/>
              </a:rPr>
              <a:t>Банка!</a:t>
            </a:r>
            <a:r>
              <a:rPr lang="ru-RU" sz="3000" b="1" dirty="0" smtClean="0">
                <a:solidFill>
                  <a:schemeClr val="bg1">
                    <a:lumMod val="65000"/>
                  </a:schemeClr>
                </a:solidFill>
                <a:latin typeface="Futura Medium" charset="0"/>
                <a:ea typeface="Futura Medium" charset="0"/>
                <a:cs typeface="Futura Medium" charset="0"/>
              </a:rPr>
              <a:t>*</a:t>
            </a:r>
            <a:endParaRPr lang="ru-RU" sz="3000" b="1" dirty="0">
              <a:solidFill>
                <a:schemeClr val="bg1">
                  <a:lumMod val="65000"/>
                </a:schemeClr>
              </a:solidFill>
              <a:latin typeface="Futura Medium" charset="0"/>
              <a:ea typeface="Futura Medium" charset="0"/>
              <a:cs typeface="Futura Medium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499992" y="2395782"/>
            <a:ext cx="4104257" cy="1753298"/>
          </a:xfrm>
          <a:prstGeom prst="roundRect">
            <a:avLst>
              <a:gd name="adj" fmla="val 2349"/>
            </a:avLst>
          </a:prstGeom>
          <a:noFill/>
          <a:ln w="12700">
            <a:solidFill>
              <a:srgbClr val="EA22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4499992" y="2767606"/>
            <a:ext cx="4042121" cy="1036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800"/>
              </a:spcAft>
              <a:buClr>
                <a:srgbClr val="EA222D"/>
              </a:buClr>
              <a:buSzPct val="50000"/>
              <a:buFont typeface=".AppleSystemUIFont" charset="-120"/>
              <a:buChar char="●"/>
            </a:pPr>
            <a:r>
              <a:rPr lang="ru-RU" sz="1600" b="1" dirty="0" smtClean="0">
                <a:latin typeface="Futura PT Book" charset="0"/>
                <a:ea typeface="Futura PT Book" charset="0"/>
                <a:cs typeface="Futura PT Book" charset="0"/>
              </a:rPr>
              <a:t>от </a:t>
            </a:r>
            <a:r>
              <a:rPr lang="ru-RU" sz="1600" b="1" dirty="0">
                <a:latin typeface="Futura PT Book" charset="0"/>
                <a:ea typeface="Futura PT Book" charset="0"/>
                <a:cs typeface="Futura PT Book" charset="0"/>
              </a:rPr>
              <a:t>11%</a:t>
            </a:r>
            <a:r>
              <a:rPr lang="ru-RU" sz="1600" dirty="0">
                <a:latin typeface="Futura PT Book" charset="0"/>
                <a:ea typeface="Futura PT Book" charset="0"/>
                <a:cs typeface="Futura PT Book" charset="0"/>
              </a:rPr>
              <a:t> годовых без </a:t>
            </a:r>
            <a:r>
              <a:rPr lang="ru-RU" sz="1600" dirty="0" smtClean="0">
                <a:latin typeface="Futura PT Book" charset="0"/>
                <a:ea typeface="Futura PT Book" charset="0"/>
                <a:cs typeface="Futura PT Book" charset="0"/>
              </a:rPr>
              <a:t>НДС</a:t>
            </a:r>
            <a:endParaRPr lang="ru-RU" sz="1600" b="1" dirty="0" smtClean="0">
              <a:latin typeface="Futura PT Book" charset="0"/>
              <a:ea typeface="Futura PT Book" charset="0"/>
              <a:cs typeface="Futura PT Book" charset="0"/>
            </a:endParaRPr>
          </a:p>
          <a:p>
            <a:pPr marL="285750" indent="-285750">
              <a:spcAft>
                <a:spcPts val="800"/>
              </a:spcAft>
              <a:buClr>
                <a:srgbClr val="EA222D"/>
              </a:buClr>
              <a:buSzPct val="50000"/>
              <a:buFont typeface=".AppleSystemUIFont" charset="-120"/>
              <a:buChar char="●"/>
            </a:pPr>
            <a:r>
              <a:rPr lang="ru-RU" sz="1600" b="1" dirty="0" smtClean="0">
                <a:latin typeface="Futura PT Book" charset="0"/>
                <a:ea typeface="Futura PT Book" charset="0"/>
                <a:cs typeface="Futura PT Book" charset="0"/>
              </a:rPr>
              <a:t>до </a:t>
            </a:r>
            <a:r>
              <a:rPr lang="ru-RU" sz="1600" b="1" dirty="0">
                <a:latin typeface="Futura PT Book" charset="0"/>
                <a:ea typeface="Futura PT Book" charset="0"/>
                <a:cs typeface="Futura PT Book" charset="0"/>
              </a:rPr>
              <a:t>100%</a:t>
            </a:r>
            <a:r>
              <a:rPr lang="ru-RU" sz="1600" dirty="0">
                <a:latin typeface="Futura PT Book" charset="0"/>
                <a:ea typeface="Futura PT Book" charset="0"/>
                <a:cs typeface="Futura PT Book" charset="0"/>
              </a:rPr>
              <a:t> от суммы </a:t>
            </a:r>
            <a:r>
              <a:rPr lang="ru-RU" sz="1600" dirty="0" smtClean="0">
                <a:latin typeface="Futura PT Book" charset="0"/>
                <a:ea typeface="Futura PT Book" charset="0"/>
                <a:cs typeface="Futura PT Book" charset="0"/>
              </a:rPr>
              <a:t>поставки</a:t>
            </a:r>
            <a:endParaRPr lang="ru-RU" sz="1600" b="1" dirty="0" smtClean="0">
              <a:latin typeface="Futura PT Book" charset="0"/>
              <a:ea typeface="Futura PT Book" charset="0"/>
              <a:cs typeface="Futura PT Book" charset="0"/>
            </a:endParaRPr>
          </a:p>
          <a:p>
            <a:pPr marL="285750" indent="-285750">
              <a:spcAft>
                <a:spcPts val="800"/>
              </a:spcAft>
              <a:buClr>
                <a:srgbClr val="EA222D"/>
              </a:buClr>
              <a:buSzPct val="50000"/>
              <a:buFont typeface=".AppleSystemUIFont" charset="-120"/>
              <a:buChar char="●"/>
            </a:pPr>
            <a:r>
              <a:rPr lang="ru-RU" sz="1600" dirty="0" smtClean="0">
                <a:latin typeface="Futura PT Book" charset="0"/>
                <a:ea typeface="Futura PT Book" charset="0"/>
                <a:cs typeface="Futura PT Book" charset="0"/>
              </a:rPr>
              <a:t>срок </a:t>
            </a:r>
            <a:r>
              <a:rPr lang="ru-RU" sz="1600" b="1" dirty="0" smtClean="0">
                <a:latin typeface="Futura PT Book" charset="0"/>
                <a:ea typeface="Futura PT Book" charset="0"/>
                <a:cs typeface="Futura PT Book" charset="0"/>
              </a:rPr>
              <a:t>до </a:t>
            </a:r>
            <a:r>
              <a:rPr lang="ru-RU" sz="1600" b="1" dirty="0">
                <a:latin typeface="Futura PT Book" charset="0"/>
                <a:ea typeface="Futura PT Book" charset="0"/>
                <a:cs typeface="Futura PT Book" charset="0"/>
              </a:rPr>
              <a:t>180 </a:t>
            </a:r>
            <a:r>
              <a:rPr lang="ru-RU" sz="1600" b="1" dirty="0" smtClean="0">
                <a:latin typeface="Futura PT Book" charset="0"/>
                <a:ea typeface="Futura PT Book" charset="0"/>
                <a:cs typeface="Futura PT Book" charset="0"/>
              </a:rPr>
              <a:t>дней</a:t>
            </a:r>
            <a:endParaRPr lang="ru-RU" sz="1600" dirty="0">
              <a:latin typeface="Futura PT Book" charset="0"/>
              <a:ea typeface="Futura PT Book" charset="0"/>
              <a:cs typeface="Futura PT Book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447048" y="2376678"/>
            <a:ext cx="3980936" cy="1796976"/>
          </a:xfrm>
          <a:prstGeom prst="roundRect">
            <a:avLst>
              <a:gd name="adj" fmla="val 4219"/>
            </a:avLst>
          </a:prstGeom>
          <a:solidFill>
            <a:srgbClr val="EA222D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468314" y="2857250"/>
            <a:ext cx="39406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600" b="1" dirty="0" smtClean="0">
                <a:solidFill>
                  <a:schemeClr val="bg1"/>
                </a:solidFill>
                <a:latin typeface="Futura PT Book" panose="020B0502020204020303" pitchFamily="34" charset="0"/>
              </a:rPr>
              <a:t>Факторинг — </a:t>
            </a:r>
            <a:r>
              <a:rPr lang="ru-RU" sz="1600" b="1" dirty="0">
                <a:solidFill>
                  <a:schemeClr val="bg1"/>
                </a:solidFill>
                <a:latin typeface="Futura PT Book" panose="020B0502020204020303" pitchFamily="34" charset="0"/>
              </a:rPr>
              <a:t>финансирование </a:t>
            </a:r>
            <a:r>
              <a:rPr lang="ru-RU" sz="1600" b="1" dirty="0" smtClean="0">
                <a:solidFill>
                  <a:schemeClr val="bg1"/>
                </a:solidFill>
                <a:latin typeface="Futura PT Book" panose="020B0502020204020303" pitchFamily="34" charset="0"/>
              </a:rPr>
              <a:t/>
            </a:r>
            <a:br>
              <a:rPr lang="ru-RU" sz="1600" b="1" dirty="0" smtClean="0">
                <a:solidFill>
                  <a:schemeClr val="bg1"/>
                </a:solidFill>
                <a:latin typeface="Futura PT Book" panose="020B0502020204020303" pitchFamily="34" charset="0"/>
              </a:rPr>
            </a:br>
            <a:r>
              <a:rPr lang="ru-RU" sz="1600" b="1" dirty="0" smtClean="0">
                <a:solidFill>
                  <a:schemeClr val="bg1"/>
                </a:solidFill>
                <a:latin typeface="Futura PT Book" panose="020B0502020204020303" pitchFamily="34" charset="0"/>
              </a:rPr>
              <a:t>под </a:t>
            </a:r>
            <a:r>
              <a:rPr lang="ru-RU" sz="1600" b="1" dirty="0">
                <a:solidFill>
                  <a:schemeClr val="bg1"/>
                </a:solidFill>
                <a:latin typeface="Futura PT Book" panose="020B0502020204020303" pitchFamily="34" charset="0"/>
              </a:rPr>
              <a:t>уступку </a:t>
            </a:r>
            <a:r>
              <a:rPr lang="ru-RU" sz="1600" b="1" dirty="0" smtClean="0">
                <a:solidFill>
                  <a:schemeClr val="bg1"/>
                </a:solidFill>
                <a:latin typeface="Futura PT Book" panose="020B0502020204020303" pitchFamily="34" charset="0"/>
              </a:rPr>
              <a:t>дебиторской</a:t>
            </a:r>
            <a:r>
              <a:rPr lang="en-US" sz="1600" b="1" dirty="0" smtClean="0">
                <a:solidFill>
                  <a:schemeClr val="bg1"/>
                </a:solidFill>
                <a:latin typeface="Futura PT Book" panose="020B0502020204020303" pitchFamily="34" charset="0"/>
              </a:rPr>
              <a:t> </a:t>
            </a:r>
            <a:r>
              <a:rPr lang="ru-RU" sz="1600" b="1" dirty="0" smtClean="0">
                <a:solidFill>
                  <a:schemeClr val="bg1"/>
                </a:solidFill>
                <a:latin typeface="Futura PT Book" panose="020B0502020204020303" pitchFamily="34" charset="0"/>
              </a:rPr>
              <a:t> задолженности</a:t>
            </a:r>
            <a:r>
              <a:rPr lang="en-US" sz="1600" b="1" dirty="0" smtClean="0">
                <a:solidFill>
                  <a:schemeClr val="bg1"/>
                </a:solidFill>
                <a:latin typeface="Futura PT Book" panose="020B0502020204020303" pitchFamily="34" charset="0"/>
              </a:rPr>
              <a:t> </a:t>
            </a:r>
            <a:r>
              <a:rPr lang="ru-RU" sz="1600" b="1" dirty="0" smtClean="0">
                <a:solidFill>
                  <a:schemeClr val="bg1"/>
                </a:solidFill>
                <a:latin typeface="Futura PT Book" panose="020B0502020204020303" pitchFamily="34" charset="0"/>
              </a:rPr>
              <a:t>на условиях:</a:t>
            </a:r>
            <a:endParaRPr lang="en-US" sz="1600" b="1" dirty="0" smtClean="0">
              <a:solidFill>
                <a:schemeClr val="bg1"/>
              </a:solidFill>
              <a:latin typeface="Futura PT Book" panose="020B0502020204020303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77588" y="4240520"/>
            <a:ext cx="8226661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dirty="0">
                <a:solidFill>
                  <a:schemeClr val="bg1">
                    <a:lumMod val="65000"/>
                  </a:schemeClr>
                </a:solidFill>
                <a:latin typeface="Futura PT Book" charset="0"/>
                <a:ea typeface="Futura PT Book" charset="0"/>
                <a:cs typeface="Futura PT Book" charset="0"/>
              </a:rPr>
              <a:t>Срок  принятия решения Банком </a:t>
            </a:r>
            <a:r>
              <a:rPr lang="ru-RU" sz="1300" b="1" dirty="0">
                <a:solidFill>
                  <a:schemeClr val="bg1">
                    <a:lumMod val="65000"/>
                  </a:schemeClr>
                </a:solidFill>
                <a:latin typeface="Futura PT Book" charset="0"/>
                <a:ea typeface="Futura PT Book" charset="0"/>
                <a:cs typeface="Futura PT Book" charset="0"/>
              </a:rPr>
              <a:t>не более 2-х </a:t>
            </a:r>
            <a:r>
              <a:rPr lang="ru-RU" sz="1300" b="1" dirty="0" smtClean="0">
                <a:solidFill>
                  <a:schemeClr val="bg1">
                    <a:lumMod val="65000"/>
                  </a:schemeClr>
                </a:solidFill>
                <a:latin typeface="Futura PT Book" charset="0"/>
                <a:ea typeface="Futura PT Book" charset="0"/>
                <a:cs typeface="Futura PT Book" charset="0"/>
              </a:rPr>
              <a:t>дней </a:t>
            </a:r>
            <a:r>
              <a:rPr lang="ru-RU" sz="1300" dirty="0" smtClean="0">
                <a:solidFill>
                  <a:schemeClr val="bg1">
                    <a:lumMod val="65000"/>
                  </a:schemeClr>
                </a:solidFill>
                <a:latin typeface="Futura PT Book" charset="0"/>
                <a:ea typeface="Futura PT Book" charset="0"/>
                <a:cs typeface="Futura PT Book" charset="0"/>
              </a:rPr>
              <a:t>при </a:t>
            </a:r>
            <a:r>
              <a:rPr lang="ru-RU" sz="1300" dirty="0">
                <a:solidFill>
                  <a:schemeClr val="bg1">
                    <a:lumMod val="65000"/>
                  </a:schemeClr>
                </a:solidFill>
                <a:latin typeface="Futura PT Book" charset="0"/>
                <a:ea typeface="Futura PT Book" charset="0"/>
                <a:cs typeface="Futura PT Book" charset="0"/>
              </a:rPr>
              <a:t>наличии </a:t>
            </a:r>
            <a:r>
              <a:rPr lang="ru-RU" sz="1300" dirty="0" smtClean="0">
                <a:solidFill>
                  <a:schemeClr val="bg1">
                    <a:lumMod val="65000"/>
                  </a:schemeClr>
                </a:solidFill>
                <a:latin typeface="Futura PT Book" charset="0"/>
                <a:ea typeface="Futura PT Book" charset="0"/>
                <a:cs typeface="Futura PT Book" charset="0"/>
              </a:rPr>
              <a:t>вашего (</a:t>
            </a:r>
            <a:r>
              <a:rPr lang="ru-RU" sz="1300" dirty="0">
                <a:solidFill>
                  <a:schemeClr val="bg1">
                    <a:lumMod val="65000"/>
                  </a:schemeClr>
                </a:solidFill>
                <a:latin typeface="Futura PT Book" charset="0"/>
                <a:ea typeface="Futura PT Book" charset="0"/>
                <a:cs typeface="Futura PT Book" charset="0"/>
              </a:rPr>
              <a:t>проекта) </a:t>
            </a:r>
            <a:r>
              <a:rPr lang="ru-RU" sz="1300" dirty="0" smtClean="0">
                <a:solidFill>
                  <a:schemeClr val="bg1">
                    <a:lumMod val="65000"/>
                  </a:schemeClr>
                </a:solidFill>
                <a:latin typeface="Futura PT Book" charset="0"/>
                <a:ea typeface="Futura PT Book" charset="0"/>
                <a:cs typeface="Futura PT Book" charset="0"/>
              </a:rPr>
              <a:t>контракта/условий </a:t>
            </a:r>
            <a:r>
              <a:rPr lang="ru-RU" sz="1300" dirty="0">
                <a:solidFill>
                  <a:schemeClr val="bg1">
                    <a:lumMod val="65000"/>
                  </a:schemeClr>
                </a:solidFill>
                <a:latin typeface="Futura PT Book" charset="0"/>
                <a:ea typeface="Futura PT Book" charset="0"/>
                <a:cs typeface="Futura PT Book" charset="0"/>
              </a:rPr>
              <a:t>тендер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61014" y="6253712"/>
            <a:ext cx="1736373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300">
                <a:solidFill>
                  <a:srgbClr val="FFFFFF">
                    <a:lumMod val="65000"/>
                  </a:srgbClr>
                </a:solidFill>
                <a:latin typeface="Futura PT Book" charset="0"/>
                <a:ea typeface="Futura PT Book" charset="0"/>
                <a:cs typeface="Futura PT Book" charset="0"/>
                <a:sym typeface="DIN Alternate"/>
              </a:rPr>
              <a:t>* Не является офертой</a:t>
            </a:r>
            <a:endParaRPr lang="en-US" sz="1300" dirty="0">
              <a:solidFill>
                <a:srgbClr val="FFFFFF">
                  <a:lumMod val="65000"/>
                </a:srgbClr>
              </a:solidFill>
              <a:latin typeface="Futura PT Book" charset="0"/>
              <a:ea typeface="Futura PT Book" charset="0"/>
              <a:cs typeface="Futura PT Book" charset="0"/>
              <a:sym typeface="DIN Alternate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7526" y="5325070"/>
            <a:ext cx="268650" cy="211187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9768" y="5243256"/>
            <a:ext cx="262077" cy="262077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827584" y="4863405"/>
            <a:ext cx="24021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u="sng" dirty="0" smtClean="0"/>
          </a:p>
          <a:p>
            <a:r>
              <a:rPr lang="ru-RU" u="sng" dirty="0" smtClean="0"/>
              <a:t>Климов </a:t>
            </a:r>
            <a:r>
              <a:rPr lang="ru-RU" u="sng" dirty="0"/>
              <a:t>Виталий </a:t>
            </a:r>
          </a:p>
          <a:p>
            <a:r>
              <a:rPr lang="ru-RU" u="sng" dirty="0"/>
              <a:t>Рыжов Владислав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599747" y="5123663"/>
            <a:ext cx="220629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+7 (</a:t>
            </a:r>
            <a:r>
              <a:rPr lang="en-US" dirty="0"/>
              <a:t>926) 123-91-25</a:t>
            </a:r>
            <a:endParaRPr lang="ru-RU" dirty="0"/>
          </a:p>
          <a:p>
            <a:r>
              <a:rPr lang="ru-RU" dirty="0"/>
              <a:t>+7 (929) 985-28-27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300192" y="5154441"/>
            <a:ext cx="24902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u="sng" dirty="0">
                <a:hlinkClick r:id="rId4"/>
              </a:rPr>
              <a:t>vklimov@mtsbank.ru</a:t>
            </a:r>
            <a:endParaRPr lang="ru-RU" sz="1600" b="1" u="sng" dirty="0"/>
          </a:p>
          <a:p>
            <a:r>
              <a:rPr lang="ru-RU" sz="1600" b="1" u="sng" dirty="0">
                <a:hlinkClick r:id="rId5"/>
              </a:rPr>
              <a:t>VRyzhov@mtsbank.ru</a:t>
            </a:r>
            <a:endParaRPr lang="ru-RU" sz="1600" b="1" u="sng" dirty="0"/>
          </a:p>
        </p:txBody>
      </p:sp>
    </p:spTree>
    <p:extLst>
      <p:ext uri="{BB962C8B-B14F-4D97-AF65-F5344CB8AC3E}">
        <p14:creationId xmlns:p14="http://schemas.microsoft.com/office/powerpoint/2010/main" val="3357882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3&quot;&gt;&lt;elem m_fUsage=&quot;4.06933762562187162359E+00&quot;&gt;&lt;m_msothmcolidx val=&quot;0&quot;/&gt;&lt;m_rgb r=&quot;FF&quot; g=&quot;11&quot; b=&quot;11&quot;/&gt;&lt;m_nBrightness tagver0=&quot;26206&quot; tagname0=&quot;m_nBrightnessUNRECOGNIZED&quot; val=&quot;0&quot;/&gt;&lt;/elem&gt;&lt;elem m_fUsage=&quot;2.81958423355782095143E+00&quot;&gt;&lt;m_msothmcolidx val=&quot;0&quot;/&gt;&lt;m_rgb r=&quot;06&quot; g=&quot;B5&quot; b=&quot;21&quot;/&gt;&lt;m_nBrightness tagver0=&quot;26206&quot; tagname0=&quot;m_nBrightnessUNRECOGNIZED&quot; val=&quot;0&quot;/&gt;&lt;/elem&gt;&lt;elem m_fUsage=&quot;1.27710300300510737337E+00&quot;&gt;&lt;m_msothmcolidx val=&quot;0&quot;/&gt;&lt;m_rgb r=&quot;4B&quot; g=&quot;AC&quot; b=&quot;C6&quot;/&gt;&lt;m_nBrightness tagver0=&quot;26206&quot; tagname0=&quot;m_nBrightnessUNRECOGNIZED&quot; val=&quot;0&quot;/&gt;&lt;/elem&gt;&lt;elem m_fUsage=&quot;9.25523840803336717009E-01&quot;&gt;&lt;m_msothmcolidx val=&quot;0&quot;/&gt;&lt;m_rgb r=&quot;7C&quot; g=&quot;C4&quot; b=&quot;D6&quot;/&gt;&lt;m_nBrightness tagver0=&quot;26206&quot; tagname0=&quot;m_nBrightnessUNRECOGNIZED&quot; val=&quot;0&quot;/&gt;&lt;/elem&gt;&lt;elem m_fUsage=&quot;6.61293958220931066272E-01&quot;&gt;&lt;m_msothmcolidx val=&quot;0&quot;/&gt;&lt;m_rgb r=&quot;F1&quot; g=&quot;1F&quot; b=&quot;3F&quot;/&gt;&lt;m_nBrightness tagver0=&quot;26206&quot; tagname0=&quot;m_nBrightnessUNRECOGNIZED&quot; val=&quot;0&quot;/&gt;&lt;/elem&gt;&lt;elem m_fUsage=&quot;7.32943126578488451939E-02&quot;&gt;&lt;m_msothmcolidx val=&quot;0&quot;/&gt;&lt;m_rgb r=&quot;4F&quot; g=&quot;B4&quot; b=&quot;FF&quot;/&gt;&lt;m_nBrightness tagver0=&quot;26206&quot; tagname0=&quot;m_nBrightnessUNRECOGNIZED&quot; val=&quot;0&quot;/&gt;&lt;/elem&gt;&lt;elem m_fUsage=&quot;7.21328420223949079437E-02&quot;&gt;&lt;m_msothmcolidx val=&quot;0&quot;/&gt;&lt;m_rgb r=&quot;4B&quot; g=&quot;AF&quot; b=&quot;C6&quot;/&gt;&lt;m_nBrightness tagver0=&quot;26206&quot; tagname0=&quot;m_nBrightnessUNRECOGNIZED&quot; val=&quot;0&quot;/&gt;&lt;/elem&gt;&lt;elem m_fUsage=&quot;6.40325040708699111391E-02&quot;&gt;&lt;m_msothmcolidx val=&quot;0&quot;/&gt;&lt;m_rgb r=&quot;CE&quot; g=&quot;EA&quot; b=&quot;F0&quot;/&gt;&lt;m_nBrightness tagver0=&quot;26206&quot; tagname0=&quot;m_nBrightnessUNRECOGNIZED&quot; val=&quot;0&quot;/&gt;&lt;/elem&gt;&lt;elem m_fUsage=&quot;1.94868174779594567625E-02&quot;&gt;&lt;m_msothmcolidx val=&quot;0&quot;/&gt;&lt;m_rgb r=&quot;FE&quot; g=&quot;9C&quot; b=&quot;30&quot;/&gt;&lt;m_nBrightness tagver0=&quot;26206&quot; tagname0=&quot;m_nBrightnessUNRECOGNIZED&quot; val=&quot;0&quot;/&gt;&lt;/elem&gt;&lt;elem m_fUsage=&quot;1.64388875086898082756E-02&quot;&gt;&lt;m_msothmcolidx val=&quot;0&quot;/&gt;&lt;m_rgb r=&quot;74&quot; g=&quot;BE&quot; b=&quot;5A&quot;/&gt;&lt;m_nBrightness tagver0=&quot;26206&quot; tagname0=&quot;m_nBrightnessUNRECOGNIZED&quot; val=&quot;0&quot;/&gt;&lt;/elem&gt;&lt;elem m_fUsage=&quot;1.75672561647619647658E-03&quot;&gt;&lt;m_msothmcolidx val=&quot;0&quot;/&gt;&lt;m_rgb r=&quot;FE&quot; g=&quot;A9&quot; b=&quot;BA&quot;/&gt;&lt;m_nBrightness tagver0=&quot;26206&quot; tagname0=&quot;m_nBrightnessUNRECOGNIZED&quot; val=&quot;0&quot;/&gt;&lt;/elem&gt;&lt;elem m_fUsage=&quot;1.51679674519642369645E-05&quot;&gt;&lt;m_msothmcolidx val=&quot;0&quot;/&gt;&lt;m_rgb r=&quot;E4&quot; g=&quot;A7&quot; b=&quot;5A&quot;/&gt;&lt;m_nBrightness tagver0=&quot;26206&quot; tagname0=&quot;m_nBrightnessUNRECOGNIZED&quot; val=&quot;0&quot;/&gt;&lt;/elem&gt;&lt;elem m_fUsage=&quot;1.69915948895249312697E-08&quot;&gt;&lt;m_msothmcolidx val=&quot;0&quot;/&gt;&lt;m_rgb r=&quot;DD&quot; g=&quot;DD&quot; b=&quot;DD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MTS BANK">
  <a:themeElements>
    <a:clrScheme name="МТС Банк август 2012">
      <a:dk1>
        <a:srgbClr val="262626"/>
      </a:dk1>
      <a:lt1>
        <a:srgbClr val="FFFFFF"/>
      </a:lt1>
      <a:dk2>
        <a:srgbClr val="DBEEF3"/>
      </a:dk2>
      <a:lt2>
        <a:srgbClr val="595959"/>
      </a:lt2>
      <a:accent1>
        <a:srgbClr val="4BACC6"/>
      </a:accent1>
      <a:accent2>
        <a:srgbClr val="C00000"/>
      </a:accent2>
      <a:accent3>
        <a:srgbClr val="6F7C83"/>
      </a:accent3>
      <a:accent4>
        <a:srgbClr val="BFBFBF"/>
      </a:accent4>
      <a:accent5>
        <a:srgbClr val="3F3F3F"/>
      </a:accent5>
      <a:accent6>
        <a:srgbClr val="AF0000"/>
      </a:accent6>
      <a:hlink>
        <a:srgbClr val="7F7F7F"/>
      </a:hlink>
      <a:folHlink>
        <a:srgbClr val="EEECE1"/>
      </a:folHlink>
    </a:clrScheme>
    <a:fontScheme name="МТС Банк 02.04.201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B6071026F52BC54AB4FF9E223D24A22B" ma:contentTypeVersion="0" ma:contentTypeDescription="Создание документа." ma:contentTypeScope="" ma:versionID="770ca2d9b5cdbe04fc31da8a8484f81e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9d58f4857a619b7c345529988bca39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607C64E-71AC-418D-A1F3-A0E4599A03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12AEDF2-8155-434D-94B3-7CA536C0828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299FAE3-B90B-4397-8479-87F995544C33}">
  <ds:schemaRefs>
    <ds:schemaRef ds:uri="http://purl.org/dc/elements/1.1/"/>
    <ds:schemaRef ds:uri="http://www.w3.org/XML/1998/namespace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329</TotalTime>
  <Words>32</Words>
  <Application>Microsoft Office PowerPoint</Application>
  <PresentationFormat>Экран (4:3)</PresentationFormat>
  <Paragraphs>14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Тема MTS BANK</vt:lpstr>
      <vt:lpstr>think-cell Slide</vt:lpstr>
      <vt:lpstr>Презентация PowerPoint</vt:lpstr>
    </vt:vector>
  </TitlesOfParts>
  <Company>mb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ект выхода МТС Банка на рынок Республики Беларусь</dc:title>
  <dc:creator>Sulyev@mtsbank.ru</dc:creator>
  <cp:lastModifiedBy>Ершен Яна Викторовна</cp:lastModifiedBy>
  <cp:revision>4736</cp:revision>
  <cp:lastPrinted>2019-02-04T13:30:34Z</cp:lastPrinted>
  <dcterms:created xsi:type="dcterms:W3CDTF">2012-08-13T05:09:40Z</dcterms:created>
  <dcterms:modified xsi:type="dcterms:W3CDTF">2019-03-13T13:2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6071026F52BC54AB4FF9E223D24A22B</vt:lpwstr>
  </property>
</Properties>
</file>